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0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  <p:sldMasterId id="2147483700" r:id="rId2"/>
    <p:sldMasterId id="2147483683" r:id="rId3"/>
    <p:sldMasterId id="2147483715" r:id="rId4"/>
    <p:sldMasterId id="2147483718" r:id="rId5"/>
    <p:sldMasterId id="2147483728" r:id="rId6"/>
    <p:sldMasterId id="2147483738" r:id="rId7"/>
    <p:sldMasterId id="2147483748" r:id="rId8"/>
    <p:sldMasterId id="2147483750" r:id="rId9"/>
    <p:sldMasterId id="2147483760" r:id="rId10"/>
    <p:sldMasterId id="2147483788" r:id="rId11"/>
    <p:sldMasterId id="2147483810" r:id="rId12"/>
    <p:sldMasterId id="2147483819" r:id="rId13"/>
  </p:sldMasterIdLst>
  <p:notesMasterIdLst>
    <p:notesMasterId r:id="rId15"/>
  </p:notesMasterIdLst>
  <p:sldIdLst>
    <p:sldId id="341" r:id="rId14"/>
  </p:sldIdLst>
  <p:sldSz cx="9144000" cy="5143500" type="screen16x9"/>
  <p:notesSz cx="6805613" cy="9939338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411" userDrawn="1">
          <p15:clr>
            <a:srgbClr val="A4A3A4"/>
          </p15:clr>
        </p15:guide>
        <p15:guide id="5" pos="2880">
          <p15:clr>
            <a:srgbClr val="A4A3A4"/>
          </p15:clr>
        </p15:guide>
        <p15:guide id="6" orient="horz" pos="1620" userDrawn="1">
          <p15:clr>
            <a:srgbClr val="A4A3A4"/>
          </p15:clr>
        </p15:guide>
        <p15:guide id="7" orient="horz" pos="622" userDrawn="1">
          <p15:clr>
            <a:srgbClr val="A4A3A4"/>
          </p15:clr>
        </p15:guide>
        <p15:guide id="8" orient="horz" pos="284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0029"/>
    <a:srgbClr val="EB0028"/>
    <a:srgbClr val="FFCCCC"/>
    <a:srgbClr val="FF9999"/>
    <a:srgbClr val="1D1D1B"/>
    <a:srgbClr val="EA002F"/>
    <a:srgbClr val="929292"/>
    <a:srgbClr val="000000"/>
    <a:srgbClr val="AE0D35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429" autoAdjust="0"/>
    <p:restoredTop sz="94080" autoAdjust="0"/>
  </p:normalViewPr>
  <p:slideViewPr>
    <p:cSldViewPr snapToGrid="0" snapToObjects="1">
      <p:cViewPr varScale="1">
        <p:scale>
          <a:sx n="88" d="100"/>
          <a:sy n="88" d="100"/>
        </p:scale>
        <p:origin x="980" y="68"/>
      </p:cViewPr>
      <p:guideLst>
        <p:guide orient="horz" pos="411"/>
        <p:guide pos="2880"/>
        <p:guide orient="horz" pos="1620"/>
        <p:guide orient="horz" pos="622"/>
        <p:guide orient="horz" pos="2845"/>
      </p:guideLst>
    </p:cSldViewPr>
  </p:slideViewPr>
  <p:outlineViewPr>
    <p:cViewPr>
      <p:scale>
        <a:sx n="33" d="100"/>
        <a:sy n="33" d="100"/>
      </p:scale>
      <p:origin x="0" y="-32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1D1D1B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1D1D1B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0497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6BF6F32-7521-8347-8A87-DF398754F7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" r="190" b="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872418"/>
            <a:ext cx="9144000" cy="168498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ts val="2440"/>
              </a:lnSpc>
              <a:spcBef>
                <a:spcPts val="0"/>
              </a:spcBef>
              <a:buNone/>
              <a:defRPr sz="1600" b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6548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0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2302" y="33339"/>
            <a:ext cx="8064500" cy="85725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22302" y="1200155"/>
            <a:ext cx="8064500" cy="3394472"/>
          </a:xfrm>
        </p:spPr>
        <p:txBody>
          <a:bodyPr/>
          <a:lstStyle/>
          <a:p>
            <a:pPr lvl="0"/>
            <a:endParaRPr lang="zh-CN" altLang="en-US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755650" y="359570"/>
            <a:ext cx="2133600" cy="16158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339"/>
            <a:endParaRPr lang="de-DE" altLang="zh-CN" sz="1800" smtClean="0">
              <a:solidFill>
                <a:srgbClr val="000000"/>
              </a:solidFill>
            </a:endParaRPr>
          </a:p>
          <a:p>
            <a:pPr defTabSz="914339"/>
            <a:r>
              <a:rPr lang="de-DE" altLang="zh-CN" sz="1800" smtClean="0">
                <a:solidFill>
                  <a:srgbClr val="000000"/>
                </a:solidFill>
              </a:rPr>
              <a:t>Page </a:t>
            </a:r>
            <a:fld id="{9CF55A79-7DF6-42B9-B144-ECEBD27E2161}" type="slidenum">
              <a:rPr lang="de-DE" altLang="zh-CN" sz="1800" smtClean="0">
                <a:solidFill>
                  <a:srgbClr val="000000"/>
                </a:solidFill>
              </a:rPr>
              <a:pPr defTabSz="914339"/>
              <a:t>‹#›</a:t>
            </a:fld>
            <a:endParaRPr lang="en-GB" altLang="zh-CN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771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18703" y="502805"/>
            <a:ext cx="8506594" cy="63040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360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388090" y="123825"/>
            <a:ext cx="8367821" cy="666140"/>
          </a:xfrm>
        </p:spPr>
        <p:txBody>
          <a:bodyPr>
            <a:no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99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 smtClean="0"/>
              <a:t>Headline in Arial Regular 36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88090" y="951946"/>
            <a:ext cx="8367821" cy="3773695"/>
          </a:xfrm>
        </p:spPr>
        <p:txBody>
          <a:bodyPr>
            <a:normAutofit/>
          </a:bodyPr>
          <a:lstStyle>
            <a:lvl1pPr marL="0" marR="0" indent="0" algn="l" defTabSz="9143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Regular 20 - 32 point </a:t>
            </a:r>
          </a:p>
        </p:txBody>
      </p:sp>
    </p:spTree>
    <p:extLst>
      <p:ext uri="{BB962C8B-B14F-4D97-AF65-F5344CB8AC3E}">
        <p14:creationId xmlns:p14="http://schemas.microsoft.com/office/powerpoint/2010/main" val="1538316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C:\Users\z00124665\Desktop\HW LOGO(横版）.png" descr="C:\Users\z00124665\Desktop\HW LOGO(横版）.png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7566407" y="4687938"/>
            <a:ext cx="1250152" cy="304525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08420" y="4875561"/>
            <a:ext cx="139837" cy="139701"/>
          </a:xfrm>
          <a:prstGeom prst="rect">
            <a:avLst/>
          </a:prstGeom>
        </p:spPr>
        <p:txBody>
          <a:bodyPr/>
          <a:lstStyle/>
          <a:p>
            <a:pPr defTabSz="914339"/>
            <a:fld id="{86CB4B4D-7CA3-9044-876B-883B54F8677D}" type="slidenum">
              <a:rPr lang="en-US" altLang="zh-CN" sz="1800" smtClean="0">
                <a:solidFill>
                  <a:prstClr val="black"/>
                </a:solidFill>
              </a:rPr>
              <a:pPr defTabSz="914339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pic>
        <p:nvPicPr>
          <p:cNvPr id="44" name="C:\Users\z00124665\Desktop\color bar [转换].wmf" descr="C:\Users\z00124665\Desktop\color bar [转换].wmf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1" y="5078651"/>
            <a:ext cx="9144001" cy="74375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Title Text"/>
          <p:cNvSpPr txBox="1">
            <a:spLocks noGrp="1"/>
          </p:cNvSpPr>
          <p:nvPr>
            <p:ph type="title"/>
          </p:nvPr>
        </p:nvSpPr>
        <p:spPr>
          <a:xfrm>
            <a:off x="0" y="1"/>
            <a:ext cx="9144000" cy="559339"/>
          </a:xfrm>
          <a:prstGeom prst="rect">
            <a:avLst/>
          </a:prstGeom>
          <a:ln w="12700">
            <a:miter lim="400000"/>
          </a:ln>
        </p:spPr>
        <p:txBody>
          <a:bodyPr lIns="45719" tIns="45719" rIns="45719" bIns="45719">
            <a:normAutofit fontScale="90000"/>
          </a:bodyPr>
          <a:lstStyle>
            <a:lvl1pPr>
              <a:defRPr sz="25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pPr marL="357164" lvl="0">
              <a:lnSpc>
                <a:spcPct val="150000"/>
              </a:lnSpc>
            </a:pPr>
            <a:r>
              <a:rPr dirty="0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23104433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67330E9-84D6-D848-ABB8-94CDC46F34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80025" y="1234270"/>
            <a:ext cx="2601440" cy="79624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140"/>
              </a:lnSpc>
              <a:buNone/>
              <a:defRPr sz="950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副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24A0A50F-B725-9F42-BF01-E5ABB7F93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022" y="1104878"/>
            <a:ext cx="2928816" cy="17907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800" b="0"/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2A5F59A2-C058-FD49-9931-38DA01565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4721" y="2104604"/>
            <a:ext cx="2599254" cy="16680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848"/>
              </a:lnSpc>
              <a:defRPr sz="6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ts val="948"/>
              </a:lnSpc>
              <a:defRPr sz="6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0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50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2406518"/>
      </p:ext>
    </p:extLst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71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554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07316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587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722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1410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8168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8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14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0414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75286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0302796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451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08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9591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3478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6044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51476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58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7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551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5654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9550612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4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3944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77" indent="0" algn="ctr">
              <a:buNone/>
              <a:defRPr sz="1500"/>
            </a:lvl2pPr>
            <a:lvl3pPr marL="685754" indent="0" algn="ctr">
              <a:buNone/>
              <a:defRPr sz="1350"/>
            </a:lvl3pPr>
            <a:lvl4pPr marL="1028631" indent="0" algn="ctr">
              <a:buNone/>
              <a:defRPr sz="1200"/>
            </a:lvl4pPr>
            <a:lvl5pPr marL="1371509" indent="0" algn="ctr">
              <a:buNone/>
              <a:defRPr sz="1200"/>
            </a:lvl5pPr>
            <a:lvl6pPr marL="1714385" indent="0" algn="ctr">
              <a:buNone/>
              <a:defRPr sz="1200"/>
            </a:lvl6pPr>
            <a:lvl7pPr marL="2057263" indent="0" algn="ctr">
              <a:buNone/>
              <a:defRPr sz="1200"/>
            </a:lvl7pPr>
            <a:lvl8pPr marL="2400140" indent="0" algn="ctr">
              <a:buNone/>
              <a:defRPr sz="1200"/>
            </a:lvl8pPr>
            <a:lvl9pPr marL="2743017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E65A60DF-4C59-4E60-A0D9-FED40F072E54}" type="datetimeFigureOut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1/30/2019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692DB4-37F1-4FEA-BD4E-9C2540DC8E68}" type="slidenum">
              <a:rPr lang="en-US" sz="1800" smtClean="0">
                <a:solidFill>
                  <a:prstClr val="white">
                    <a:lumMod val="85000"/>
                  </a:prstClr>
                </a:solidFill>
              </a:rPr>
              <a:pPr defTabSz="914339"/>
              <a:t>‹#›</a:t>
            </a:fld>
            <a:endParaRPr lang="en-US" sz="18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4122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占位符 1"/>
          <p:cNvSpPr>
            <a:spLocks noGrp="1"/>
          </p:cNvSpPr>
          <p:nvPr>
            <p:ph type="title"/>
          </p:nvPr>
        </p:nvSpPr>
        <p:spPr bwMode="auto">
          <a:xfrm>
            <a:off x="307103" y="351155"/>
            <a:ext cx="8529797" cy="78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26432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C14BA5F-5E8B-8B46-B64F-01BC62C0D68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2465" y="1362986"/>
            <a:ext cx="8047024" cy="3209015"/>
          </a:xfrm>
          <a:prstGeom prst="rect">
            <a:avLst/>
          </a:prstGeom>
        </p:spPr>
        <p:txBody>
          <a:bodyPr lIns="0" tIns="0" rIns="0" bIns="0"/>
          <a:lstStyle>
            <a:lvl1pPr marL="9525" indent="0">
              <a:lnSpc>
                <a:spcPts val="1200"/>
              </a:lnSpc>
              <a:buFontTx/>
              <a:buNone/>
              <a:tabLst>
                <a:tab pos="930213" algn="ctr"/>
              </a:tabLst>
              <a:defRPr sz="100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2pPr>
            <a:lvl3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3pPr>
            <a:lvl4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4pPr>
            <a:lvl5pPr marL="404786" indent="-131754">
              <a:buFont typeface="Arial" panose="020B0604020202020204" pitchFamily="34" charset="0"/>
              <a:buChar char="•"/>
              <a:tabLst>
                <a:tab pos="930213" algn="ctr"/>
              </a:tabLst>
              <a:defRPr sz="1000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5" y="385918"/>
            <a:ext cx="805233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9526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7102" y="304023"/>
            <a:ext cx="8529797" cy="654402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1611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9624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2" y="523121"/>
            <a:ext cx="8529797" cy="461537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888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2" y="351154"/>
            <a:ext cx="8529797" cy="78205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  <a:prstGeom prst="rect">
            <a:avLst/>
          </a:prstGeo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15810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879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/>
          </p:nvPr>
        </p:nvSpPr>
        <p:spPr>
          <a:xfrm>
            <a:off x="436846" y="502805"/>
            <a:ext cx="8506594" cy="63040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方正兰亭细黑_GBK" panose="02000000000000000000" pitchFamily="2" charset="-122"/>
                <a:cs typeface="Arial" panose="020B0604020202020204" pitchFamily="34" charset="0"/>
              </a:defRPr>
            </a:lvl1pPr>
            <a:lvl2pPr marL="457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 smtClean="0"/>
              <a:t>单击此处编辑母版副标题样式</a:t>
            </a:r>
            <a:endParaRPr lang="zh-CN" altLang="en-US" noProof="1"/>
          </a:p>
        </p:txBody>
      </p:sp>
    </p:spTree>
    <p:extLst>
      <p:ext uri="{BB962C8B-B14F-4D97-AF65-F5344CB8AC3E}">
        <p14:creationId xmlns:p14="http://schemas.microsoft.com/office/powerpoint/2010/main" val="4234216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5" y="923711"/>
            <a:ext cx="7274777" cy="479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altLang="zh-CN" dirty="0"/>
              <a:t>Content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1062525" y="1562575"/>
            <a:ext cx="7018952" cy="28449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altLang="zh-CN" dirty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19327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081" y="4767350"/>
            <a:ext cx="2134235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fld id="{1C0D7A3F-7135-4FA1-BEE2-FCD6DC02281F}" type="datetimeFigureOut">
              <a:rPr lang="zh-CN" altLang="en-US" sz="1799" smtClean="0">
                <a:solidFill>
                  <a:prstClr val="black">
                    <a:tint val="75000"/>
                  </a:prstClr>
                </a:solidFill>
              </a:rPr>
              <a:pPr defTabSz="914309"/>
              <a:t>2019/1/30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578" y="4767350"/>
            <a:ext cx="2894846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2685" y="4767350"/>
            <a:ext cx="2134235" cy="273780"/>
          </a:xfrm>
          <a:prstGeom prst="rect">
            <a:avLst/>
          </a:prstGeom>
        </p:spPr>
        <p:txBody>
          <a:bodyPr lIns="167939" tIns="83969" rIns="167939" bIns="83969"/>
          <a:lstStyle/>
          <a:p>
            <a:pPr defTabSz="914309"/>
            <a:fld id="{EA5C1035-5AE8-4B3F-94D9-7A820D43C195}" type="slidenum">
              <a:rPr lang="zh-CN" altLang="en-US" sz="1799" smtClean="0">
                <a:solidFill>
                  <a:prstClr val="black">
                    <a:tint val="75000"/>
                  </a:prstClr>
                </a:solidFill>
              </a:rPr>
              <a:pPr defTabSz="914309"/>
              <a:t>‹#›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501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89980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78" y="187325"/>
            <a:ext cx="8627165" cy="55933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414084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" y="-208722"/>
            <a:ext cx="8529797" cy="7817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0817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3000581"/>
      </p:ext>
    </p:extLst>
  </p:cSld>
  <p:clrMapOvr>
    <a:masterClrMapping/>
  </p:clrMapOvr>
  <p:transition advClick="0" advTm="800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755650" y="140127"/>
            <a:ext cx="7632701" cy="832639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300"/>
              <a:t>标题文本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idx="1"/>
          </p:nvPr>
        </p:nvSpPr>
        <p:spPr>
          <a:xfrm>
            <a:off x="755650" y="972765"/>
            <a:ext cx="7596001" cy="4170737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100"/>
              <a:t>正文级别 1</a:t>
            </a:r>
          </a:p>
          <a:p>
            <a:pPr lvl="1">
              <a:defRPr sz="1800"/>
            </a:pPr>
            <a:r>
              <a:rPr sz="2100"/>
              <a:t>正文级别 2</a:t>
            </a:r>
          </a:p>
          <a:p>
            <a:pPr lvl="2">
              <a:defRPr sz="1800"/>
            </a:pPr>
            <a:r>
              <a:rPr sz="2100"/>
              <a:t>正文级别 3</a:t>
            </a:r>
          </a:p>
          <a:p>
            <a:pPr lvl="3">
              <a:defRPr sz="1800"/>
            </a:pPr>
            <a:r>
              <a:rPr sz="2100"/>
              <a:t>正文级别 4</a:t>
            </a:r>
          </a:p>
          <a:p>
            <a:pPr lvl="4">
              <a:defRPr sz="1800"/>
            </a:pPr>
            <a:r>
              <a:rPr sz="2100"/>
              <a:t>正文级别 5</a:t>
            </a:r>
          </a:p>
        </p:txBody>
      </p:sp>
    </p:spTree>
    <p:extLst>
      <p:ext uri="{BB962C8B-B14F-4D97-AF65-F5344CB8AC3E}">
        <p14:creationId xmlns:p14="http://schemas.microsoft.com/office/powerpoint/2010/main" val="545675463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4955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4" y="923711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97865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818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2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53110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43547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0461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5"/>
            <a:ext cx="7632700" cy="653653"/>
          </a:xfrm>
          <a:prstGeom prst="rect">
            <a:avLst/>
          </a:prstGeom>
        </p:spPr>
        <p:txBody>
          <a:bodyPr lIns="121928" tIns="60964" rIns="121928" bIns="60964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121928" tIns="60964" rIns="121928" bIns="60964"/>
          <a:lstStyle>
            <a:lvl1pPr>
              <a:defRPr sz="2399"/>
            </a:lvl1pPr>
            <a:lvl2pPr>
              <a:defRPr sz="2024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302181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550" y="511592"/>
            <a:ext cx="8529797" cy="461537"/>
          </a:xfrm>
        </p:spPr>
        <p:txBody>
          <a:bodyPr lIns="0" rIns="0">
            <a:sp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12636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5"/>
            <a:ext cx="7632700" cy="653653"/>
          </a:xfrm>
          <a:prstGeom prst="rect">
            <a:avLst/>
          </a:prstGeom>
        </p:spPr>
        <p:txBody>
          <a:bodyPr lIns="121928" tIns="60964" rIns="121928" bIns="60964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121928" tIns="60964" rIns="121928" bIns="60964"/>
          <a:lstStyle>
            <a:lvl1pPr>
              <a:defRPr sz="2399"/>
            </a:lvl1pPr>
            <a:lvl2pPr>
              <a:defRPr sz="2024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568924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936253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971071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6" y="482569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9563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44003" y="545662"/>
            <a:ext cx="8506594" cy="461537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9137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rgbClr val="40404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456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741263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105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12003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62772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041617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404" tIns="45698" rIns="91404" bIns="45698">
            <a:normAutofit/>
          </a:bodyPr>
          <a:lstStyle>
            <a:lvl1pPr marL="0" marR="0" indent="0" algn="l" defTabSz="9139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13732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276777"/>
            <a:ext cx="7632700" cy="559338"/>
          </a:xfrm>
          <a:prstGeom prst="rect">
            <a:avLst/>
          </a:prstGeom>
        </p:spPr>
        <p:txBody>
          <a:bodyPr lIns="115150" tIns="57576" rIns="115150" bIns="57576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552275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135" y="402022"/>
            <a:ext cx="8365056" cy="559338"/>
          </a:xfrm>
          <a:prstGeom prst="rect">
            <a:avLst/>
          </a:prstGeom>
        </p:spPr>
        <p:txBody>
          <a:bodyPr/>
          <a:lstStyle>
            <a:lvl1pPr>
              <a:defRPr sz="2399" b="1">
                <a:solidFill>
                  <a:srgbClr val="C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00342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03" y="351508"/>
            <a:ext cx="8529797" cy="781706"/>
          </a:xfrm>
          <a:prstGeom prst="rect">
            <a:avLst/>
          </a:prstGeom>
        </p:spPr>
        <p:txBody>
          <a:bodyPr lIns="121880" tIns="60940" rIns="121880" bIns="60940"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608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4132" y="242775"/>
            <a:ext cx="8320412" cy="450829"/>
          </a:xfrm>
          <a:prstGeom prst="rect">
            <a:avLst/>
          </a:prstGeom>
        </p:spPr>
        <p:txBody>
          <a:bodyPr lIns="121804" tIns="60902" rIns="121804" bIns="60902"/>
          <a:lstStyle>
            <a:lvl1pPr>
              <a:defRPr sz="23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168057"/>
      </p:ext>
    </p:extLst>
  </p:cSld>
  <p:clrMapOvr>
    <a:masterClrMapping/>
  </p:clrMapOvr>
  <p:transition advClick="0" advTm="8000"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6847" y="482571"/>
            <a:ext cx="8506594" cy="630408"/>
          </a:xfrm>
          <a:prstGeom prst="rect">
            <a:avLst/>
          </a:prstGeom>
        </p:spPr>
        <p:txBody>
          <a:bodyPr lIns="91392" tIns="45690" rIns="91392" bIns="45690">
            <a:normAutofit/>
          </a:bodyPr>
          <a:lstStyle>
            <a:lvl1pPr marL="0" marR="0" indent="0" algn="l" defTabSz="9138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6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73116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7115" y="351508"/>
            <a:ext cx="8529797" cy="781706"/>
          </a:xfrm>
          <a:prstGeom prst="rect">
            <a:avLst/>
          </a:prstGeom>
        </p:spPr>
        <p:txBody>
          <a:bodyPr lIns="121856" tIns="60928" rIns="121856" bIns="60928"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683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7297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36968"/>
            <a:ext cx="7632700" cy="653653"/>
          </a:xfrm>
          <a:prstGeom prst="rect">
            <a:avLst/>
          </a:prstGeom>
        </p:spPr>
        <p:txBody>
          <a:bodyPr lIns="91382" tIns="45693" rIns="91382" bIns="4569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4088" y="1221288"/>
            <a:ext cx="7615824" cy="3438558"/>
          </a:xfrm>
          <a:prstGeom prst="rect">
            <a:avLst/>
          </a:prstGeom>
        </p:spPr>
        <p:txBody>
          <a:bodyPr lIns="91382" tIns="45693" rIns="91382" bIns="45693"/>
          <a:lstStyle>
            <a:lvl1pPr>
              <a:defRPr sz="2400"/>
            </a:lvl1pPr>
            <a:lvl2pPr>
              <a:defRPr sz="20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65826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7505" y="33343"/>
            <a:ext cx="8064500" cy="594197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22304" y="1200183"/>
            <a:ext cx="395605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730754" y="1200150"/>
            <a:ext cx="3956050" cy="16394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730754" y="2953943"/>
            <a:ext cx="3956050" cy="16406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3492505" y="4692254"/>
            <a:ext cx="1220788" cy="45124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339">
              <a:defRPr/>
            </a:pPr>
            <a:endParaRPr lang="de-DE" altLang="zh-CN" sz="1800" smtClean="0">
              <a:solidFill>
                <a:srgbClr val="000000"/>
              </a:solidFill>
            </a:endParaRPr>
          </a:p>
          <a:p>
            <a:pPr defTabSz="914339">
              <a:defRPr/>
            </a:pPr>
            <a:r>
              <a:rPr lang="de-DE" altLang="zh-CN" sz="1800" smtClean="0">
                <a:solidFill>
                  <a:srgbClr val="000000"/>
                </a:solidFill>
              </a:rPr>
              <a:t>Page </a:t>
            </a:r>
            <a:fld id="{ED0D5FF8-B704-491F-A3D7-2F3C7780BFB6}" type="slidenum">
              <a:rPr lang="de-DE" altLang="zh-CN" sz="1800" smtClean="0">
                <a:solidFill>
                  <a:srgbClr val="000000"/>
                </a:solidFill>
              </a:rPr>
              <a:pPr defTabSz="914339">
                <a:defRPr/>
              </a:pPr>
              <a:t>‹#›</a:t>
            </a:fld>
            <a:endParaRPr lang="en-GB" altLang="zh-CN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11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3" y="4767278"/>
            <a:ext cx="2133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fld id="{D228F260-C640-4781-B65A-CB3CAD386331}" type="datetimeFigureOut">
              <a:rPr lang="zh-CN" altLang="en-US" sz="1800" smtClean="0">
                <a:solidFill>
                  <a:prstClr val="black">
                    <a:tint val="75000"/>
                  </a:prstClr>
                </a:solidFill>
              </a:rPr>
              <a:pPr/>
              <a:t>2019/1/30</a:t>
            </a:fld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2" y="4767278"/>
            <a:ext cx="2895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3" y="4767278"/>
            <a:ext cx="2133600" cy="274637"/>
          </a:xfrm>
          <a:prstGeom prst="rect">
            <a:avLst/>
          </a:prstGeom>
        </p:spPr>
        <p:txBody>
          <a:bodyPr lIns="68510" tIns="34255" rIns="68510" bIns="34255"/>
          <a:lstStyle>
            <a:lvl1pPr defTabSz="685175">
              <a:defRPr/>
            </a:lvl1pPr>
          </a:lstStyle>
          <a:p>
            <a:fld id="{C0DF20CC-6736-4664-9BAB-350C5BAD7DC5}" type="slidenum">
              <a:rPr lang="zh-CN" altLang="en-US" sz="18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341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1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530820CF-B880-4189-942D-D702A7CBA730}" type="datetimeFigureOut">
              <a:rPr lang="zh-CN" altLang="en-US" sz="1800" smtClean="0">
                <a:solidFill>
                  <a:prstClr val="black"/>
                </a:solidFill>
              </a:rPr>
              <a:pPr defTabSz="914339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914339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339"/>
            <a:fld id="{0C913308-F349-4B6D-A68A-DD1791B4A57B}" type="slidenum">
              <a:rPr lang="zh-CN" altLang="en-US" sz="1800" smtClean="0">
                <a:solidFill>
                  <a:prstClr val="black"/>
                </a:solidFill>
              </a:rPr>
              <a:pPr defTabSz="914339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9497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6746452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1D1D1B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1D1D1B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111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0"/>
            <a:ext cx="9144000" cy="5143500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8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56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626" cy="5143500"/>
          </a:xfrm>
          <a:prstGeom prst="rect">
            <a:avLst/>
          </a:prstGeom>
        </p:spPr>
      </p:pic>
      <p:sp>
        <p:nvSpPr>
          <p:cNvPr id="12" name="矩形 11"/>
          <p:cNvSpPr/>
          <p:nvPr userDrawn="1"/>
        </p:nvSpPr>
        <p:spPr>
          <a:xfrm>
            <a:off x="-11630" y="0"/>
            <a:ext cx="9157091" cy="51435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7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0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92"/>
          <a:stretch/>
        </p:blipFill>
        <p:spPr>
          <a:xfrm>
            <a:off x="-2690" y="0"/>
            <a:ext cx="9144001" cy="5143501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97" y="1"/>
            <a:ext cx="9146689" cy="51435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90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-2689" y="0"/>
            <a:ext cx="9144000" cy="5143500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42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-8168" y="0"/>
            <a:ext cx="9152168" cy="514350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384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-6627"/>
            <a:ext cx="9144000" cy="51435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766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97" y="0"/>
            <a:ext cx="9146689" cy="5143500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014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1542" y="-6626"/>
            <a:ext cx="9144000" cy="5143500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88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-2689" y="0"/>
            <a:ext cx="9144000" cy="5143500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42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7" y="923714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3791710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5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76275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00335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275"/>
            </a:lvl4pPr>
            <a:lvl5pPr>
              <a:defRPr sz="1275"/>
            </a:lvl5pPr>
            <a:lvl6pPr>
              <a:defRPr sz="1275"/>
            </a:lvl6pPr>
            <a:lvl7pPr>
              <a:defRPr sz="1275"/>
            </a:lvl7pPr>
            <a:lvl8pPr>
              <a:defRPr sz="1275"/>
            </a:lvl8pPr>
            <a:lvl9pPr>
              <a:defRPr sz="12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275"/>
            </a:lvl4pPr>
            <a:lvl5pPr>
              <a:defRPr sz="1275"/>
            </a:lvl5pPr>
            <a:lvl6pPr>
              <a:defRPr sz="1275"/>
            </a:lvl6pPr>
            <a:lvl7pPr>
              <a:defRPr sz="1275"/>
            </a:lvl7pPr>
            <a:lvl8pPr>
              <a:defRPr sz="1275"/>
            </a:lvl8pPr>
            <a:lvl9pPr>
              <a:defRPr sz="12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92834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1"/>
            <a:ext cx="6400800" cy="131444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1" y="4767264"/>
            <a:ext cx="2133600" cy="273843"/>
          </a:xfrm>
          <a:prstGeom prst="rect">
            <a:avLst/>
          </a:prstGeom>
        </p:spPr>
        <p:txBody>
          <a:bodyPr/>
          <a:lstStyle/>
          <a:p>
            <a:pPr defTabSz="914156"/>
            <a:fld id="{554E0FD1-19C5-4645-9153-60A8F2F7DE12}" type="datetimeFigureOut">
              <a:rPr lang="zh-CN" altLang="en-US" sz="1800" smtClean="0">
                <a:solidFill>
                  <a:prstClr val="black"/>
                </a:solidFill>
              </a:rPr>
              <a:pPr defTabSz="914156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3"/>
          </a:xfrm>
          <a:prstGeom prst="rect">
            <a:avLst/>
          </a:prstGeom>
        </p:spPr>
        <p:txBody>
          <a:bodyPr/>
          <a:lstStyle/>
          <a:p>
            <a:pPr defTabSz="914156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pPr defTabSz="914156"/>
            <a:fld id="{F582C396-20C4-4C86-B1DE-BB2607C59EF2}" type="slidenum">
              <a:rPr lang="zh-CN" altLang="en-US" sz="1800" smtClean="0">
                <a:solidFill>
                  <a:prstClr val="black"/>
                </a:solidFill>
              </a:rPr>
              <a:pPr defTabSz="914156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4849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fld id="{CF663791-126E-43FC-959D-D8E54691372F}" type="datetimeFigureOut">
              <a:rPr lang="zh-CN" altLang="en-US" sz="1800" smtClean="0">
                <a:solidFill>
                  <a:prstClr val="black"/>
                </a:solidFill>
              </a:rPr>
              <a:pPr defTabSz="914156"/>
              <a:t>2019/1/30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lIns="91458" tIns="45729" rIns="91458" bIns="45729"/>
          <a:lstStyle/>
          <a:p>
            <a:pPr defTabSz="914156"/>
            <a:fld id="{0614705A-1504-4258-AED3-31F3B6E6F200}" type="slidenum">
              <a:rPr lang="zh-CN" altLang="en-US" sz="1800" smtClean="0">
                <a:solidFill>
                  <a:prstClr val="black"/>
                </a:solidFill>
              </a:rPr>
              <a:pPr defTabSz="914156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60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7154" y="385918"/>
            <a:ext cx="8044314" cy="74505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2640"/>
              </a:lnSpc>
              <a:spcBef>
                <a:spcPts val="0"/>
              </a:spcBef>
              <a:buNone/>
              <a:defRPr sz="24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90F8C169-724B-D241-A3D4-211D947A19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029" y="1365839"/>
            <a:ext cx="8058279" cy="31984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1060"/>
              </a:lnSpc>
              <a:buFontTx/>
              <a:buNone/>
              <a:defRPr sz="1400" b="0" i="0" baseline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3C0FA09B-DE65-C346-B88F-A44AD87A0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1614" y="4719130"/>
            <a:ext cx="324677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837181-38C6-AD4F-B8BA-B444770388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=""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821279" y="4754361"/>
            <a:ext cx="109717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b="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="" xmlns:a16="http://schemas.microsoft.com/office/drawing/2014/main" id="{2126AA77-8FA3-FE48-B15D-4A2B254BD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36" y="4655895"/>
            <a:ext cx="1301652" cy="27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7111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12544" y="923711"/>
            <a:ext cx="7274777" cy="47951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62524" y="1562575"/>
            <a:ext cx="7018952" cy="284495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50061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622" y="1597449"/>
            <a:ext cx="7772757" cy="1103454"/>
          </a:xfrm>
        </p:spPr>
        <p:txBody>
          <a:bodyPr>
            <a:normAutofit/>
          </a:bodyPr>
          <a:lstStyle>
            <a:lvl1pPr algn="ctr">
              <a:defRPr sz="2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2255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5660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081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36" y="1199872"/>
            <a:ext cx="4057784" cy="3394876"/>
          </a:xfrm>
        </p:spPr>
        <p:txBody>
          <a:bodyPr/>
          <a:lstStyle>
            <a:lvl1pPr>
              <a:defRPr sz="2099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263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024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2710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114754" y="90600"/>
            <a:ext cx="4283074" cy="432000"/>
          </a:xfrm>
          <a:prstGeom prst="rect">
            <a:avLst/>
          </a:prstGeom>
        </p:spPr>
        <p:txBody>
          <a:bodyPr/>
          <a:lstStyle>
            <a:lvl1pPr>
              <a:defRPr sz="21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48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98654" y="374585"/>
            <a:ext cx="8506594" cy="46937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0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99" baseline="0">
                <a:solidFill>
                  <a:schemeClr val="bg1"/>
                </a:solidFill>
                <a:latin typeface="+mj-ea"/>
                <a:ea typeface="+mj-ea"/>
              </a:defRPr>
            </a:lvl1pPr>
            <a:lvl2pPr marL="45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32pt </a:t>
            </a:r>
            <a:r>
              <a:rPr lang="zh-CN" altLang="en-US" dirty="0"/>
              <a:t>，左对齐，只放一行</a:t>
            </a:r>
          </a:p>
        </p:txBody>
      </p:sp>
    </p:spTree>
    <p:extLst>
      <p:ext uri="{BB962C8B-B14F-4D97-AF65-F5344CB8AC3E}">
        <p14:creationId xmlns:p14="http://schemas.microsoft.com/office/powerpoint/2010/main" val="7726654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18704" y="1985018"/>
            <a:ext cx="8506594" cy="1173465"/>
          </a:xfrm>
          <a:prstGeom prst="rect">
            <a:avLst/>
          </a:prstGeom>
        </p:spPr>
        <p:txBody>
          <a:bodyPr lIns="68562" tIns="34281" rIns="68562" bIns="34281">
            <a:normAutofit/>
          </a:bodyPr>
          <a:lstStyle>
            <a:lvl1pPr marL="0" marR="0" indent="0" algn="ctr" defTabSz="91400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3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457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err="1" smtClean="0"/>
              <a:t>Arail</a:t>
            </a:r>
            <a:r>
              <a:rPr lang="en-US" altLang="zh-CN" dirty="0" smtClean="0"/>
              <a:t> 44pt, Center, up to two lin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2119232"/>
      </p:ext>
    </p:extLst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62335" y="170226"/>
            <a:ext cx="8506594" cy="4131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1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699" b="1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5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28370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5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image" Target="../media/image14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heme" Target="../theme/theme10.xml"/><Relationship Id="rId30" Type="http://schemas.openxmlformats.org/officeDocument/2006/relationships/image" Target="../media/image16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wmf"/><Relationship Id="rId3" Type="http://schemas.openxmlformats.org/officeDocument/2006/relationships/slideLayout" Target="../slideLayouts/slideLayout86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87.xml"/><Relationship Id="rId9" Type="http://schemas.openxmlformats.org/officeDocument/2006/relationships/image" Target="../media/image1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1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2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3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2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3.jpeg"/><Relationship Id="rId18" Type="http://schemas.openxmlformats.org/officeDocument/2006/relationships/image" Target="../media/image16.w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5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2.emf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5.png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9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325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14" r:id="rId2"/>
    <p:sldLayoutId id="2147483705" r:id="rId3"/>
    <p:sldLayoutId id="2147483713" r:id="rId4"/>
    <p:sldLayoutId id="2147483707" r:id="rId5"/>
    <p:sldLayoutId id="2147483708" r:id="rId6"/>
    <p:sldLayoutId id="2147483710" r:id="rId7"/>
    <p:sldLayoutId id="2147483711" r:id="rId8"/>
    <p:sldLayoutId id="2147483712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 2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28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30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2" y="351507"/>
            <a:ext cx="8529797" cy="7817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76993" y="123796"/>
            <a:ext cx="2176993" cy="7121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排版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左对齐</a:t>
            </a:r>
            <a:endParaRPr lang="en-US" altLang="zh-CN" sz="1050" b="1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中文字体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微软雅黑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英文字体：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Arial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正文颜色：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10; 210; 210    </a:t>
            </a:r>
          </a:p>
          <a:p>
            <a:pPr defTabSz="914339">
              <a:lnSpc>
                <a:spcPct val="150000"/>
              </a:lnSpc>
            </a:pPr>
            <a:r>
              <a:rPr lang="zh-CN" altLang="en-US" sz="1050" dirty="0" smtClean="0">
                <a:solidFill>
                  <a:prstClr val="white"/>
                </a:solidFill>
              </a:rPr>
              <a:t>标题</a:t>
            </a:r>
            <a:r>
              <a:rPr lang="en-US" altLang="zh-CN" sz="1050" dirty="0" smtClean="0">
                <a:solidFill>
                  <a:prstClr val="white"/>
                </a:solidFill>
              </a:rPr>
              <a:t>/</a:t>
            </a:r>
            <a:r>
              <a:rPr lang="zh-CN" altLang="en-US" sz="1050" dirty="0" smtClean="0">
                <a:solidFill>
                  <a:prstClr val="white"/>
                </a:solidFill>
              </a:rPr>
              <a:t>强调颜色</a:t>
            </a:r>
            <a:r>
              <a:rPr lang="en-US" altLang="zh-CN" sz="1050" dirty="0" smtClean="0">
                <a:solidFill>
                  <a:prstClr val="white"/>
                </a:solidFill>
              </a:rPr>
              <a:t>: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55;255;255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分隔线条颜色：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RGB: 255; 204; 102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分隔线条线粗： 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0.75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磅</a:t>
            </a:r>
            <a:endParaRPr lang="en-US" altLang="zh-CN" sz="1050" b="1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用做画面色块使用，三种颜色请搭配使用，同一个页面颜色不能重复使用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形与文字搭配做底色使用，深浅搭配使用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红色仅作局部小范围点缀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渐变色只用在数据图形的展示方面</a:t>
            </a: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标：整个胶片出现的图标，使用线稿效果，增加圆形线圈加以辅助；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标尺寸为三种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2.4x2.4cm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，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1.6x1.6cm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，</a:t>
            </a:r>
            <a:r>
              <a:rPr lang="en-US" altLang="zh-CN" sz="1050" b="1" dirty="0" smtClean="0">
                <a:solidFill>
                  <a:prstClr val="white"/>
                </a:solidFill>
              </a:rPr>
              <a:t>0.9x0.9cm</a:t>
            </a:r>
          </a:p>
          <a:p>
            <a:pPr defTabSz="914339">
              <a:lnSpc>
                <a:spcPct val="150000"/>
              </a:lnSpc>
              <a:defRPr/>
            </a:pPr>
            <a:r>
              <a:rPr lang="zh-CN" altLang="en-US" sz="1050" dirty="0" smtClean="0">
                <a:solidFill>
                  <a:prstClr val="white"/>
                </a:solidFill>
              </a:rPr>
              <a:t>图片：</a:t>
            </a:r>
            <a:r>
              <a:rPr lang="zh-CN" altLang="en-US" sz="1050" b="1" dirty="0" smtClean="0">
                <a:solidFill>
                  <a:prstClr val="white"/>
                </a:solidFill>
              </a:rPr>
              <a:t>选择亮度高、自然化的图片；</a:t>
            </a:r>
          </a:p>
          <a:p>
            <a:pPr defTabSz="914339">
              <a:lnSpc>
                <a:spcPct val="150000"/>
              </a:lnSpc>
              <a:defRPr/>
            </a:pP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zh-CN" altLang="en-US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  <a:defRPr/>
            </a:pPr>
            <a:endParaRPr lang="en-US" altLang="zh-CN" sz="1050" dirty="0" smtClean="0">
              <a:solidFill>
                <a:prstClr val="white"/>
              </a:solidFill>
            </a:endParaRPr>
          </a:p>
          <a:p>
            <a:pPr defTabSz="914339">
              <a:lnSpc>
                <a:spcPct val="150000"/>
              </a:lnSpc>
            </a:pPr>
            <a:endParaRPr lang="zh-CN" altLang="en-US" sz="1050" dirty="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9269299" y="367587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图标底色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9269299" y="753072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文字底色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9269299" y="1861600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有色底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269299" y="2258466"/>
            <a:ext cx="139653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9"/>
            <a:r>
              <a:rPr lang="zh-CN" altLang="en-US" sz="1050" dirty="0" smtClean="0">
                <a:solidFill>
                  <a:prstClr val="white"/>
                </a:solidFill>
              </a:rPr>
              <a:t>与渐变图形搭配使用</a:t>
            </a:r>
            <a:endParaRPr lang="en-US" altLang="zh-CN" sz="1050" dirty="0" smtClean="0">
              <a:solidFill>
                <a:prstClr val="white"/>
              </a:solidFill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10835004" y="735971"/>
            <a:ext cx="269930" cy="269937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25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indent="-171404" defTabSz="914339" eaLnBrk="0" fontAlgn="ctr" hangingPunct="0">
              <a:buClr>
                <a:srgbClr val="CC9900"/>
              </a:buClr>
              <a:buSzPct val="60000"/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10835004" y="351733"/>
            <a:ext cx="269930" cy="269937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defTabSz="914339" eaLnBrk="0" hangingPunct="0"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11104934" y="351507"/>
            <a:ext cx="269930" cy="269937"/>
          </a:xfrm>
          <a:prstGeom prst="rect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2631" tIns="6316" rIns="12631" bIns="6316" anchor="ctr" anchorCtr="0">
            <a:noAutofit/>
          </a:bodyPr>
          <a:lstStyle/>
          <a:p>
            <a:pPr indent="-171404" defTabSz="914339" eaLnBrk="0" fontAlgn="ctr" hangingPunct="0">
              <a:buClr>
                <a:srgbClr val="CC9900"/>
              </a:buClr>
              <a:buSzPct val="60000"/>
              <a:buFont typeface="Wingdings" pitchFamily="2" charset="2"/>
              <a:buChar char="n"/>
              <a:defRPr/>
            </a:pPr>
            <a:endParaRPr lang="zh-CN" altLang="en-US" sz="1350">
              <a:solidFill>
                <a:prstClr val="white"/>
              </a:solidFill>
              <a:latin typeface="宋体" panose="02010600030101010101" pitchFamily="2" charset="-122"/>
              <a:cs typeface="Arial" pitchFamily="34" charset="0"/>
              <a:sym typeface="Arial"/>
            </a:endParaRPr>
          </a:p>
        </p:txBody>
      </p:sp>
      <p:sp>
        <p:nvSpPr>
          <p:cNvPr id="45" name="矩形 44"/>
          <p:cNvSpPr/>
          <p:nvPr userDrawn="1"/>
        </p:nvSpPr>
        <p:spPr>
          <a:xfrm>
            <a:off x="10835004" y="1355382"/>
            <a:ext cx="269930" cy="2699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171404" algn="ctr" defTabSz="914339" fontAlgn="ctr">
              <a:buClr>
                <a:srgbClr val="990000"/>
              </a:buClr>
              <a:buSzPct val="60000"/>
              <a:defRPr/>
            </a:pPr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46" name="矩形 45"/>
          <p:cNvSpPr/>
          <p:nvPr userDrawn="1"/>
        </p:nvSpPr>
        <p:spPr>
          <a:xfrm>
            <a:off x="10835004" y="178233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7" name="矩形 46"/>
          <p:cNvSpPr/>
          <p:nvPr userDrawn="1"/>
        </p:nvSpPr>
        <p:spPr>
          <a:xfrm>
            <a:off x="11104934" y="178233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E0B0F"/>
              </a:gs>
              <a:gs pos="100000">
                <a:srgbClr val="F1937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8" name="矩形 47"/>
          <p:cNvSpPr/>
          <p:nvPr userDrawn="1"/>
        </p:nvSpPr>
        <p:spPr>
          <a:xfrm>
            <a:off x="10835004" y="2219308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49" name="矩形 48"/>
          <p:cNvSpPr/>
          <p:nvPr userDrawn="1"/>
        </p:nvSpPr>
        <p:spPr>
          <a:xfrm>
            <a:off x="11104934" y="2219308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E4B4B"/>
              </a:gs>
              <a:gs pos="100000">
                <a:srgbClr val="CC756D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9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69796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</p:sldLayoutIdLst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717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3" y="351507"/>
            <a:ext cx="8529797" cy="781706"/>
          </a:xfrm>
          <a:prstGeom prst="rect">
            <a:avLst/>
          </a:prstGeom>
        </p:spPr>
        <p:txBody>
          <a:bodyPr vert="horz" lIns="91422" tIns="45710" rIns="91422" bIns="4571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22" tIns="45710" rIns="91422" bIns="4571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226755" y="351507"/>
            <a:ext cx="86524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2279797" y="4903349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156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65000"/>
                  </a:prstClr>
                </a:solidFill>
              </a:rPr>
              <a:pPr defTabSz="914156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9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1638" y="4893325"/>
            <a:ext cx="1991397" cy="90704"/>
          </a:xfrm>
          <a:prstGeom prst="rect">
            <a:avLst/>
          </a:prstGeom>
          <a:noFill/>
        </p:spPr>
      </p:pic>
      <p:pic>
        <p:nvPicPr>
          <p:cNvPr id="10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61544" y="4823069"/>
            <a:ext cx="936656" cy="227200"/>
          </a:xfrm>
          <a:prstGeom prst="rect">
            <a:avLst/>
          </a:prstGeom>
          <a:noFill/>
        </p:spPr>
      </p:pic>
      <p:cxnSp>
        <p:nvCxnSpPr>
          <p:cNvPr id="11" name="直接连接符 10"/>
          <p:cNvCxnSpPr/>
          <p:nvPr userDrawn="1"/>
        </p:nvCxnSpPr>
        <p:spPr>
          <a:xfrm>
            <a:off x="245800" y="4778850"/>
            <a:ext cx="86524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 descr="leading-new-ic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824654" y="182533"/>
            <a:ext cx="1073549" cy="80981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-2176990" y="123799"/>
            <a:ext cx="2176993" cy="5470696"/>
          </a:xfrm>
          <a:prstGeom prst="rect">
            <a:avLst/>
          </a:prstGeom>
          <a:noFill/>
        </p:spPr>
        <p:txBody>
          <a:bodyPr wrap="square" lIns="68549" tIns="34274" rIns="68549" bIns="34274" rtlCol="0">
            <a:spAutoFit/>
          </a:bodyPr>
          <a:lstStyle/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排版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左对齐</a:t>
            </a:r>
            <a:endParaRPr lang="en-US" altLang="zh-CN" sz="975" b="1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中文字体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微软雅黑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英文字体：</a:t>
            </a:r>
            <a:r>
              <a:rPr lang="en-US" altLang="zh-CN" sz="975" b="1" dirty="0" smtClean="0">
                <a:solidFill>
                  <a:prstClr val="white"/>
                </a:solidFill>
              </a:rPr>
              <a:t>Arial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正文颜色：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89;89;89    </a:t>
            </a:r>
          </a:p>
          <a:p>
            <a:pPr defTabSz="914156">
              <a:lnSpc>
                <a:spcPct val="150000"/>
              </a:lnSpc>
            </a:pPr>
            <a:r>
              <a:rPr lang="zh-CN" altLang="en-US" sz="975" dirty="0" smtClean="0">
                <a:solidFill>
                  <a:prstClr val="white"/>
                </a:solidFill>
              </a:rPr>
              <a:t>标题</a:t>
            </a:r>
            <a:r>
              <a:rPr lang="en-US" altLang="zh-CN" sz="975" dirty="0" smtClean="0">
                <a:solidFill>
                  <a:prstClr val="white"/>
                </a:solidFill>
              </a:rPr>
              <a:t>/</a:t>
            </a:r>
            <a:r>
              <a:rPr lang="zh-CN" altLang="en-US" sz="975" dirty="0" smtClean="0">
                <a:solidFill>
                  <a:prstClr val="white"/>
                </a:solidFill>
              </a:rPr>
              <a:t>强调颜色</a:t>
            </a:r>
            <a:r>
              <a:rPr lang="en-US" altLang="zh-CN" sz="975" dirty="0" smtClean="0">
                <a:solidFill>
                  <a:prstClr val="white"/>
                </a:solidFill>
              </a:rPr>
              <a:t>: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0;0;0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分隔线条颜色：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RGB: 166;166;166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分隔线条线粗： </a:t>
            </a:r>
            <a:r>
              <a:rPr lang="en-US" altLang="zh-CN" sz="975" b="1" dirty="0" smtClean="0">
                <a:solidFill>
                  <a:prstClr val="white"/>
                </a:solidFill>
              </a:rPr>
              <a:t>0.75</a:t>
            </a:r>
            <a:r>
              <a:rPr lang="zh-CN" altLang="en-US" sz="975" b="1" dirty="0" smtClean="0">
                <a:solidFill>
                  <a:prstClr val="white"/>
                </a:solidFill>
              </a:rPr>
              <a:t>磅</a:t>
            </a:r>
            <a:endParaRPr lang="en-US" altLang="zh-CN" sz="975" b="1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用做画面色块使用，三种颜色请搭配使用，同一个页面颜色不能重复使用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形与文字搭配做底色使用，深浅搭配使用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红色仅作局部小范围点缀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渐变色只用在数据图形的展示方面</a:t>
            </a: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标：整个胶片出现的图标，使用线稿效果，增加圆形线圈加以辅助；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标尺寸为三种</a:t>
            </a:r>
            <a:r>
              <a:rPr lang="en-US" altLang="zh-CN" sz="975" b="1" dirty="0" smtClean="0">
                <a:solidFill>
                  <a:prstClr val="white"/>
                </a:solidFill>
              </a:rPr>
              <a:t>2.4x2.4cm</a:t>
            </a:r>
            <a:r>
              <a:rPr lang="zh-CN" altLang="en-US" sz="975" b="1" dirty="0" smtClean="0">
                <a:solidFill>
                  <a:prstClr val="white"/>
                </a:solidFill>
              </a:rPr>
              <a:t>，</a:t>
            </a:r>
            <a:r>
              <a:rPr lang="en-US" altLang="zh-CN" sz="975" b="1" dirty="0" smtClean="0">
                <a:solidFill>
                  <a:prstClr val="white"/>
                </a:solidFill>
              </a:rPr>
              <a:t>1.6x1.6cm</a:t>
            </a:r>
            <a:r>
              <a:rPr lang="zh-CN" altLang="en-US" sz="975" b="1" dirty="0" smtClean="0">
                <a:solidFill>
                  <a:prstClr val="white"/>
                </a:solidFill>
              </a:rPr>
              <a:t>，</a:t>
            </a:r>
            <a:r>
              <a:rPr lang="en-US" altLang="zh-CN" sz="975" b="1" dirty="0" smtClean="0">
                <a:solidFill>
                  <a:prstClr val="white"/>
                </a:solidFill>
              </a:rPr>
              <a:t>0.9x0.9cm</a:t>
            </a:r>
          </a:p>
          <a:p>
            <a:pPr defTabSz="914156">
              <a:lnSpc>
                <a:spcPct val="150000"/>
              </a:lnSpc>
              <a:defRPr/>
            </a:pPr>
            <a:r>
              <a:rPr lang="zh-CN" altLang="en-US" sz="975" dirty="0" smtClean="0">
                <a:solidFill>
                  <a:prstClr val="white"/>
                </a:solidFill>
              </a:rPr>
              <a:t>图片：</a:t>
            </a:r>
            <a:r>
              <a:rPr lang="zh-CN" altLang="en-US" sz="975" b="1" dirty="0" smtClean="0">
                <a:solidFill>
                  <a:prstClr val="white"/>
                </a:solidFill>
              </a:rPr>
              <a:t>选择亮度高、自然化的图片；</a:t>
            </a:r>
          </a:p>
          <a:p>
            <a:pPr defTabSz="914156">
              <a:lnSpc>
                <a:spcPct val="150000"/>
              </a:lnSpc>
              <a:defRPr/>
            </a:pP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zh-CN" altLang="en-US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  <a:defRPr/>
            </a:pPr>
            <a:endParaRPr lang="en-US" altLang="zh-CN" sz="975" dirty="0" smtClean="0">
              <a:solidFill>
                <a:prstClr val="white"/>
              </a:solidFill>
            </a:endParaRPr>
          </a:p>
          <a:p>
            <a:pPr defTabSz="914156">
              <a:lnSpc>
                <a:spcPct val="150000"/>
              </a:lnSpc>
            </a:pPr>
            <a:endParaRPr lang="zh-CN" altLang="en-US" sz="975" dirty="0">
              <a:solidFill>
                <a:prstClr val="white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0835004" y="113321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10835004" y="73597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CF0F2"/>
              </a:gs>
              <a:gs pos="100000">
                <a:srgbClr val="D9DE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0835004" y="35173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94A5B8"/>
              </a:gs>
              <a:gs pos="100000">
                <a:srgbClr val="7A8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11104934" y="1133216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CF0F2"/>
              </a:gs>
              <a:gs pos="100000">
                <a:srgbClr val="D9DE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11104934" y="73597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3E9EF"/>
              </a:gs>
              <a:gs pos="100000">
                <a:srgbClr val="EBEFF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11104934" y="351510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6E5F2"/>
              </a:gs>
              <a:gs pos="100000">
                <a:srgbClr val="BFD1E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10835004" y="150796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EBEBEB"/>
              </a:gs>
              <a:gs pos="100000">
                <a:srgbClr val="F0F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9269299" y="367589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图标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9269299" y="753074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文字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269299" y="1138559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图标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9269299" y="1524042"/>
            <a:ext cx="638574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文字底色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25" name="矩形 24"/>
          <p:cNvSpPr/>
          <p:nvPr userDrawn="1"/>
        </p:nvSpPr>
        <p:spPr>
          <a:xfrm>
            <a:off x="10835004" y="1923831"/>
            <a:ext cx="269930" cy="2699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indent="-171368" algn="ctr" defTabSz="914156" fontAlgn="ctr">
              <a:buClr>
                <a:srgbClr val="990000"/>
              </a:buClr>
              <a:buSzPct val="60000"/>
              <a:defRPr/>
            </a:pPr>
            <a:endParaRPr lang="zh-CN" altLang="en-US" sz="1800" dirty="0">
              <a:solidFill>
                <a:prstClr val="white"/>
              </a:solidFill>
              <a:latin typeface="宋体" panose="02010600030101010101" pitchFamily="2" charset="-122"/>
              <a:sym typeface="Arial"/>
            </a:endParaRPr>
          </a:p>
        </p:txBody>
      </p:sp>
      <p:sp>
        <p:nvSpPr>
          <p:cNvPr id="26" name="矩形 25"/>
          <p:cNvSpPr/>
          <p:nvPr userDrawn="1"/>
        </p:nvSpPr>
        <p:spPr>
          <a:xfrm>
            <a:off x="10835004" y="235078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2D3E2"/>
              </a:gs>
              <a:gs pos="100000">
                <a:srgbClr val="CCDAE7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7" name="矩形 26"/>
          <p:cNvSpPr/>
          <p:nvPr userDrawn="1"/>
        </p:nvSpPr>
        <p:spPr>
          <a:xfrm>
            <a:off x="11104934" y="2350782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CE0B0F"/>
              </a:gs>
              <a:gs pos="100000">
                <a:srgbClr val="F1937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8" name="矩形 27"/>
          <p:cNvSpPr/>
          <p:nvPr userDrawn="1"/>
        </p:nvSpPr>
        <p:spPr>
          <a:xfrm>
            <a:off x="10835004" y="2787757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29" name="矩形 28"/>
          <p:cNvSpPr/>
          <p:nvPr userDrawn="1"/>
        </p:nvSpPr>
        <p:spPr>
          <a:xfrm>
            <a:off x="11104934" y="2787757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E4B4B"/>
              </a:gs>
              <a:gs pos="100000">
                <a:srgbClr val="CC756D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9269300" y="2366861"/>
            <a:ext cx="388505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白底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9269299" y="2803835"/>
            <a:ext cx="513540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有色底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  <p:sp>
        <p:nvSpPr>
          <p:cNvPr id="32" name="矩形 31"/>
          <p:cNvSpPr/>
          <p:nvPr userDrawn="1"/>
        </p:nvSpPr>
        <p:spPr>
          <a:xfrm>
            <a:off x="11104934" y="320070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F5D9D0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3" name="矩形 32"/>
          <p:cNvSpPr/>
          <p:nvPr userDrawn="1"/>
        </p:nvSpPr>
        <p:spPr>
          <a:xfrm>
            <a:off x="10835004" y="3200704"/>
            <a:ext cx="269930" cy="269937"/>
          </a:xfrm>
          <a:prstGeom prst="rect">
            <a:avLst/>
          </a:prstGeom>
          <a:gradFill flip="none" rotWithShape="1">
            <a:gsLst>
              <a:gs pos="0">
                <a:srgbClr val="DCDFE3">
                  <a:alpha val="51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74" rIns="68549" bIns="34274" rtlCol="0" anchor="ctr"/>
          <a:lstStyle/>
          <a:p>
            <a:pPr algn="ctr" defTabSz="914156"/>
            <a:endParaRPr lang="zh-CN" altLang="en-US" sz="1800">
              <a:solidFill>
                <a:prstClr val="white"/>
              </a:solidFill>
              <a:latin typeface="宋体" panose="02010600030101010101" pitchFamily="2" charset="-122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269301" y="3200702"/>
            <a:ext cx="1263745" cy="219258"/>
          </a:xfrm>
          <a:prstGeom prst="rect">
            <a:avLst/>
          </a:prstGeom>
          <a:noFill/>
        </p:spPr>
        <p:txBody>
          <a:bodyPr wrap="none" lIns="68549" tIns="34274" rIns="68549" bIns="34274" rtlCol="0">
            <a:spAutoFit/>
          </a:bodyPr>
          <a:lstStyle/>
          <a:p>
            <a:pPr defTabSz="914156"/>
            <a:r>
              <a:rPr lang="zh-CN" altLang="en-US" sz="975" dirty="0" smtClean="0">
                <a:solidFill>
                  <a:prstClr val="white"/>
                </a:solidFill>
              </a:rPr>
              <a:t>与渐变图形搭配使用</a:t>
            </a:r>
            <a:endParaRPr lang="en-US" altLang="zh-CN" sz="975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787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</p:sldLayoutIdLst>
  <p:txStyles>
    <p:titleStyle>
      <a:lvl1pPr algn="l" defTabSz="685479" rtl="0" eaLnBrk="1" latinLnBrk="0" hangingPunct="1">
        <a:spcBef>
          <a:spcPct val="0"/>
        </a:spcBef>
        <a:buNone/>
        <a:defRPr sz="239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055" indent="-257055" algn="l" defTabSz="685479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6953" indent="-214210" algn="l" defTabSz="685479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685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590" indent="-171368" algn="l" defTabSz="685479" rtl="0" eaLnBrk="1" latinLnBrk="0" hangingPunct="1">
        <a:spcBef>
          <a:spcPct val="20000"/>
        </a:spcBef>
        <a:buFont typeface="Arial" pitchFamily="34" charset="0"/>
        <a:buChar char="–"/>
        <a:defRPr sz="1275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330" indent="-171368" algn="l" defTabSz="685479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069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1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50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289" indent="-171368" algn="l" defTabSz="68547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8547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821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7096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713701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56437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99180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41919" algn="l" defTabSz="685479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07102" y="351507"/>
            <a:ext cx="8529797" cy="7817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微软雅黑 左对齐 一行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081" y="1199872"/>
            <a:ext cx="8229838" cy="33948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1776399" y="4893471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6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92723" y="4785262"/>
            <a:ext cx="936656" cy="205191"/>
          </a:xfrm>
          <a:prstGeom prst="rect">
            <a:avLst/>
          </a:prstGeom>
          <a:noFill/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628" y="4829194"/>
            <a:ext cx="1356239" cy="18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9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 baseline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141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307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B61A14E-2E52-384E-B088-7C293856A7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507" y="3936452"/>
            <a:ext cx="1411200" cy="302400"/>
          </a:xfrm>
          <a:prstGeom prst="rect">
            <a:avLst/>
          </a:prstGeom>
        </p:spPr>
      </p:pic>
      <p:sp>
        <p:nvSpPr>
          <p:cNvPr id="5" name="Subtitle 6">
            <a:extLst>
              <a:ext uri="{FF2B5EF4-FFF2-40B4-BE49-F238E27FC236}">
                <a16:creationId xmlns="" xmlns:a16="http://schemas.microsoft.com/office/drawing/2014/main" id="{A240AB14-6A66-614A-9419-A18188557428}"/>
              </a:ext>
            </a:extLst>
          </p:cNvPr>
          <p:cNvSpPr txBox="1">
            <a:spLocks/>
          </p:cNvSpPr>
          <p:nvPr userDrawn="1"/>
        </p:nvSpPr>
        <p:spPr>
          <a:xfrm>
            <a:off x="5988116" y="1223885"/>
            <a:ext cx="2607257" cy="31071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140"/>
              </a:lnSpc>
              <a:spcBef>
                <a:spcPts val="0"/>
              </a:spcBef>
            </a:pPr>
            <a:r>
              <a:rPr kumimoji="1" lang="zh-CN" altLang="en-US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把数字世界带入每个人、每个家庭、</a:t>
            </a:r>
            <a:r>
              <a:rPr kumimoji="1" lang="en-US" altLang="zh-CN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/>
            </a:r>
            <a:br>
              <a:rPr kumimoji="1" lang="en-US" altLang="zh-CN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</a:br>
            <a:r>
              <a:rPr kumimoji="1" lang="zh-CN" altLang="en-US" sz="95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每个组织，构建万物互联的智能世界。</a:t>
            </a:r>
            <a:endParaRPr kumimoji="1" lang="zh-CN" altLang="en-US" sz="950" dirty="0">
              <a:solidFill>
                <a:srgbClr val="1D1D1B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="" xmlns:a16="http://schemas.microsoft.com/office/drawing/2014/main" id="{65C25D8A-87A0-A246-B34B-A8B927841C8F}"/>
              </a:ext>
            </a:extLst>
          </p:cNvPr>
          <p:cNvSpPr txBox="1">
            <a:spLocks/>
          </p:cNvSpPr>
          <p:nvPr userDrawn="1"/>
        </p:nvSpPr>
        <p:spPr>
          <a:xfrm>
            <a:off x="457022" y="1104878"/>
            <a:ext cx="2928816" cy="17907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en-US" altLang="zh-CN">
                <a:solidFill>
                  <a:srgbClr val="929292"/>
                </a:solidFill>
                <a:latin typeface="Arial" panose="020B0604020202020204" pitchFamily="34" charset="0"/>
              </a:rPr>
              <a:t>Thank you.</a:t>
            </a:r>
            <a:endParaRPr lang="en-US" dirty="0">
              <a:solidFill>
                <a:srgbClr val="929292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="" xmlns:a16="http://schemas.microsoft.com/office/drawing/2014/main" id="{4A7C7821-D87F-714F-802E-8487A2819343}"/>
              </a:ext>
            </a:extLst>
          </p:cNvPr>
          <p:cNvSpPr txBox="1">
            <a:spLocks/>
          </p:cNvSpPr>
          <p:nvPr userDrawn="1"/>
        </p:nvSpPr>
        <p:spPr>
          <a:xfrm>
            <a:off x="5982179" y="2096218"/>
            <a:ext cx="2417931" cy="15224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20"/>
              </a:lnSpc>
            </a:pPr>
            <a:r>
              <a:rPr kumimoji="1" lang="en-US" altLang="zh-CN" sz="600" b="1">
                <a:solidFill>
                  <a:srgbClr val="1D1D1B"/>
                </a:solidFill>
                <a:latin typeface="+mj-lt"/>
              </a:rPr>
              <a:t>Copyright©2018 Huawei Technologies Co., Ltd.</a:t>
            </a:r>
            <a:br>
              <a:rPr kumimoji="1" lang="en-US" altLang="zh-CN" sz="600" b="1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600" b="1">
                <a:solidFill>
                  <a:srgbClr val="1D1D1B"/>
                </a:solidFill>
                <a:latin typeface="+mj-lt"/>
              </a:rPr>
              <a:t>All Rights Reserved.</a:t>
            </a:r>
            <a:r>
              <a:rPr kumimoji="1" lang="en-US" altLang="zh-CN" sz="600">
                <a:solidFill>
                  <a:srgbClr val="1D1D1B"/>
                </a:solidFill>
              </a:rPr>
              <a:t/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  <a:latin typeface="+mj-lt"/>
              </a:rPr>
              <a:t/>
            </a:r>
            <a:br>
              <a:rPr kumimoji="1" lang="en-US" altLang="zh-CN" sz="600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 information in this document may contain predictive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statements including, without limitation, statements regarding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 future financial and operating results, future product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portfolio, new technology, etc. There are a number of factors that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could cause actual results and developments to differ materially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from those expressed or implied in the predictive statements.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Therefore, such information is provided for reference purpose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only and constitutes neither an offer nor an acceptance. Huawei </a:t>
            </a:r>
            <a:br>
              <a:rPr kumimoji="1" lang="en-US" altLang="zh-CN" sz="600">
                <a:solidFill>
                  <a:srgbClr val="1D1D1B"/>
                </a:solidFill>
              </a:rPr>
            </a:br>
            <a:r>
              <a:rPr kumimoji="1" lang="en-US" altLang="zh-CN" sz="600">
                <a:solidFill>
                  <a:srgbClr val="1D1D1B"/>
                </a:solidFill>
              </a:rPr>
              <a:t>may change the information at any time without notice. </a:t>
            </a:r>
          </a:p>
          <a:p>
            <a:pPr>
              <a:lnSpc>
                <a:spcPts val="820"/>
              </a:lnSpc>
            </a:pPr>
            <a:r>
              <a:rPr kumimoji="1" lang="en-US" altLang="zh-CN" sz="600">
                <a:solidFill>
                  <a:srgbClr val="1D1D1B"/>
                </a:solidFill>
              </a:rPr>
              <a:t>Huawei Confidential</a:t>
            </a:r>
          </a:p>
          <a:p>
            <a:pPr>
              <a:lnSpc>
                <a:spcPts val="820"/>
              </a:lnSpc>
            </a:pPr>
            <a:endParaRPr kumimoji="1" lang="zh-CN" altLang="en-US" sz="600" dirty="0">
              <a:solidFill>
                <a:srgbClr val="1D1D1B"/>
              </a:solidFill>
            </a:endParaRPr>
          </a:p>
        </p:txBody>
      </p:sp>
      <p:sp>
        <p:nvSpPr>
          <p:cNvPr id="8" name="Subtitle 6">
            <a:extLst>
              <a:ext uri="{FF2B5EF4-FFF2-40B4-BE49-F238E27FC236}">
                <a16:creationId xmlns="" xmlns:a16="http://schemas.microsoft.com/office/drawing/2014/main" id="{407036ED-77EF-614F-90A0-912061623C9C}"/>
              </a:ext>
            </a:extLst>
          </p:cNvPr>
          <p:cNvSpPr txBox="1">
            <a:spLocks/>
          </p:cNvSpPr>
          <p:nvPr userDrawn="1"/>
        </p:nvSpPr>
        <p:spPr>
          <a:xfrm>
            <a:off x="5980917" y="1561499"/>
            <a:ext cx="2610355" cy="4371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96"/>
              </a:lnSpc>
            </a:pP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Bring digital to every person, home, and </a:t>
            </a:r>
            <a:b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intelligent world.</a:t>
            </a:r>
            <a:endParaRPr kumimoji="1" lang="zh-CN" altLang="en-US" sz="850" dirty="0">
              <a:solidFill>
                <a:srgbClr val="1D1D1B"/>
              </a:solidFill>
              <a:latin typeface="+mn-lt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0" kern="1200">
          <a:solidFill>
            <a:srgbClr val="000000"/>
          </a:solidFill>
          <a:latin typeface="Microsoft YaHei" panose="020B0503020204020204" pitchFamily="34" charset="-122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43" userDrawn="1">
          <p15:clr>
            <a:srgbClr val="F26B43"/>
          </p15:clr>
        </p15:guide>
        <p15:guide id="4" pos="541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6454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43">
          <p15:clr>
            <a:srgbClr val="F26B43"/>
          </p15:clr>
        </p15:guide>
        <p15:guide id="4" pos="5417">
          <p15:clr>
            <a:srgbClr val="F26B43"/>
          </p15:clr>
        </p15:guide>
        <p15:guide id="5" orient="horz" pos="307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1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27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内容占位符 8">
            <a:extLst>
              <a:ext uri="{FF2B5EF4-FFF2-40B4-BE49-F238E27FC236}">
                <a16:creationId xmlns="" xmlns:a16="http://schemas.microsoft.com/office/drawing/2014/main" id="{2BBC9E70-DF85-4438-B643-4D4D31F5609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1"/>
            <a:ext cx="9143998" cy="5143004"/>
          </a:xfrm>
          <a:prstGeom prst="rect">
            <a:avLst/>
          </a:prstGeom>
        </p:spPr>
      </p:pic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6" cstate="print">
            <a:lum/>
          </a:blip>
          <a:stretch>
            <a:fillRect/>
          </a:stretch>
        </p:blipFill>
        <p:spPr bwMode="auto">
          <a:xfrm>
            <a:off x="7961544" y="4823069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824651" y="182533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>
                    <a:lumMod val="75000"/>
                  </a:prstClr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28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18" cstate="print">
            <a:lum/>
          </a:blip>
          <a:srcRect/>
          <a:stretch>
            <a:fillRect/>
          </a:stretch>
        </p:blipFill>
        <p:spPr bwMode="auto">
          <a:xfrm>
            <a:off x="241635" y="4893325"/>
            <a:ext cx="1991397" cy="90704"/>
          </a:xfrm>
          <a:prstGeom prst="rect">
            <a:avLst/>
          </a:prstGeom>
          <a:noFill/>
        </p:spPr>
      </p:pic>
      <p:sp>
        <p:nvSpPr>
          <p:cNvPr id="40" name="Rectangle 5"/>
          <p:cNvSpPr>
            <a:spLocks noChangeArrowheads="1"/>
          </p:cNvSpPr>
          <p:nvPr userDrawn="1"/>
        </p:nvSpPr>
        <p:spPr bwMode="auto">
          <a:xfrm>
            <a:off x="2279797" y="4903346"/>
            <a:ext cx="203988" cy="1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3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 smtClean="0">
                <a:solidFill>
                  <a:prstClr val="white"/>
                </a:solidFill>
              </a:rPr>
              <a:pPr defTabSz="91433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29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iming>
    <p:tnLst>
      <p:par>
        <p:cTn id="1" dur="indefinite" restart="never" nodeType="tmRoot"/>
      </p:par>
    </p:tnLst>
  </p:timing>
  <p:txStyles>
    <p:titleStyle>
      <a:lvl1pPr algn="l" defTabSz="685617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106" indent="-257106" algn="l" defTabSz="685617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64" indent="-214255" algn="l" defTabSz="6856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021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830" indent="-171404" algn="l" defTabSz="685617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639" indent="-171404" algn="l" defTabSz="68561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447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6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64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3" indent="-171404" algn="l" defTabSz="6856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直接连接符 8"/>
          <p:cNvCxnSpPr/>
          <p:nvPr userDrawn="1"/>
        </p:nvCxnSpPr>
        <p:spPr>
          <a:xfrm>
            <a:off x="227350" y="351153"/>
            <a:ext cx="8651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19" name="Rectangle 5"/>
          <p:cNvSpPr>
            <a:spLocks noChangeArrowheads="1"/>
          </p:cNvSpPr>
          <p:nvPr userDrawn="1"/>
        </p:nvSpPr>
        <p:spPr bwMode="auto">
          <a:xfrm>
            <a:off x="2279454" y="4903050"/>
            <a:ext cx="204734" cy="147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8956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33528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8100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4267200" defTabSz="12192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defTabSz="914156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fld id="{219982ED-6DEA-46CA-9666-05620B5E2BA1}" type="slidenum">
              <a:rPr lang="de-DE" altLang="zh-CN" sz="675" smtClean="0">
                <a:solidFill>
                  <a:srgbClr val="A6A6A6"/>
                </a:solidFill>
              </a:rPr>
              <a:pPr defTabSz="914156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t>‹#›</a:t>
            </a:fld>
            <a:endParaRPr lang="de-DE" altLang="zh-CN" sz="675" smtClean="0">
              <a:solidFill>
                <a:srgbClr val="A6A6A6"/>
              </a:solidFill>
            </a:endParaRPr>
          </a:p>
        </p:txBody>
      </p:sp>
      <p:pic>
        <p:nvPicPr>
          <p:cNvPr id="9220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635" y="4893526"/>
            <a:ext cx="1991397" cy="90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018" y="4823296"/>
            <a:ext cx="935588" cy="227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直接连接符 14"/>
          <p:cNvCxnSpPr/>
          <p:nvPr userDrawn="1"/>
        </p:nvCxnSpPr>
        <p:spPr>
          <a:xfrm>
            <a:off x="246395" y="4779253"/>
            <a:ext cx="8651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3" name="图片 15" descr="leading-new-ict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131" y="182124"/>
            <a:ext cx="1072474" cy="80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489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txStyles>
    <p:titleStyle>
      <a:lvl1pPr algn="ctr" defTabSz="914156" rtl="0" eaLnBrk="0" fontAlgn="base" hangingPunct="0">
        <a:spcBef>
          <a:spcPct val="0"/>
        </a:spcBef>
        <a:spcAft>
          <a:spcPct val="0"/>
        </a:spcAft>
        <a:defRPr sz="4424" kern="1200">
          <a:solidFill>
            <a:schemeClr val="bg1"/>
          </a:solidFill>
          <a:latin typeface="+mj-lt"/>
          <a:ea typeface="+mj-ea"/>
          <a:cs typeface="+mj-cs"/>
        </a:defRPr>
      </a:lvl1pPr>
      <a:lvl2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ctr" defTabSz="914156" rtl="0" eaLnBrk="0" fontAlgn="base" hangingPunct="0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342809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685617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028426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371234" algn="ctr" defTabSz="914156" rtl="0" fontAlgn="base">
        <a:spcBef>
          <a:spcPct val="0"/>
        </a:spcBef>
        <a:spcAft>
          <a:spcPct val="0"/>
        </a:spcAft>
        <a:defRPr sz="4424">
          <a:solidFill>
            <a:schemeClr val="bg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809" indent="-34280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24" kern="1200">
          <a:solidFill>
            <a:schemeClr val="bg1"/>
          </a:solidFill>
          <a:latin typeface="+mn-lt"/>
          <a:ea typeface="+mn-ea"/>
          <a:cs typeface="+mn-cs"/>
        </a:defRPr>
      </a:lvl1pPr>
      <a:lvl2pPr marL="742752" indent="-285674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74" kern="1200">
          <a:solidFill>
            <a:schemeClr val="bg1"/>
          </a:solidFill>
          <a:latin typeface="+mn-lt"/>
          <a:ea typeface="+mn-ea"/>
          <a:cs typeface="+mn-cs"/>
        </a:defRPr>
      </a:lvl2pPr>
      <a:lvl3pPr marL="1142695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99" kern="1200">
          <a:solidFill>
            <a:schemeClr val="bg1"/>
          </a:solidFill>
          <a:latin typeface="+mn-lt"/>
          <a:ea typeface="+mn-ea"/>
          <a:cs typeface="+mn-cs"/>
        </a:defRPr>
      </a:lvl3pPr>
      <a:lvl4pPr marL="1599773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24" kern="1200">
          <a:solidFill>
            <a:schemeClr val="bg1"/>
          </a:solidFill>
          <a:latin typeface="+mn-lt"/>
          <a:ea typeface="+mn-ea"/>
          <a:cs typeface="+mn-cs"/>
        </a:defRPr>
      </a:lvl4pPr>
      <a:lvl5pPr marL="2056851" indent="-228539" algn="l" defTabSz="91415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24" kern="1200">
          <a:solidFill>
            <a:schemeClr val="bg1"/>
          </a:solidFill>
          <a:latin typeface="+mn-lt"/>
          <a:ea typeface="+mn-ea"/>
          <a:cs typeface="+mn-cs"/>
        </a:defRPr>
      </a:lvl5pPr>
      <a:lvl6pPr marL="2514406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4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2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3886116" indent="-228539" algn="l" defTabSz="914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6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7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5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3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7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7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zh-CN" altLang="en-US" sz="1799">
              <a:solidFill>
                <a:prstClr val="white"/>
              </a:solidFill>
            </a:endParaRPr>
          </a:p>
        </p:txBody>
      </p:sp>
      <p:pic>
        <p:nvPicPr>
          <p:cNvPr id="2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14" cstate="print">
            <a:lum/>
          </a:blip>
          <a:stretch>
            <a:fillRect/>
          </a:stretch>
        </p:blipFill>
        <p:spPr bwMode="auto">
          <a:xfrm>
            <a:off x="7961544" y="4823070"/>
            <a:ext cx="936656" cy="235324"/>
          </a:xfrm>
          <a:prstGeom prst="rect">
            <a:avLst/>
          </a:prstGeom>
          <a:noFill/>
        </p:spPr>
      </p:pic>
      <p:pic>
        <p:nvPicPr>
          <p:cNvPr id="26" name="图片 25" descr="leading-new-ict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4651" y="182534"/>
            <a:ext cx="1073549" cy="80981"/>
          </a:xfrm>
          <a:prstGeom prst="rect">
            <a:avLst/>
          </a:prstGeom>
        </p:spPr>
      </p:pic>
      <p:sp>
        <p:nvSpPr>
          <p:cNvPr id="27" name="Rectangle 5"/>
          <p:cNvSpPr>
            <a:spLocks noChangeArrowheads="1"/>
          </p:cNvSpPr>
          <p:nvPr userDrawn="1"/>
        </p:nvSpPr>
        <p:spPr bwMode="auto">
          <a:xfrm>
            <a:off x="2279797" y="4903345"/>
            <a:ext cx="203988" cy="14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09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675">
                <a:solidFill>
                  <a:prstClr val="white">
                    <a:lumMod val="75000"/>
                  </a:prstClr>
                </a:solidFill>
              </a:rPr>
              <a:pPr defTabSz="914309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675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01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</p:sldLayoutIdLst>
  <p:txStyles>
    <p:titleStyle>
      <a:lvl1pPr algn="l" defTabSz="685595" rtl="0" eaLnBrk="1" latinLnBrk="0" hangingPunct="1">
        <a:spcBef>
          <a:spcPct val="0"/>
        </a:spcBef>
        <a:buNone/>
        <a:defRPr sz="2399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57098" indent="-257098" algn="l" defTabSz="685595" rtl="0" eaLnBrk="1" latinLnBrk="0" hangingPunct="1">
        <a:spcBef>
          <a:spcPct val="20000"/>
        </a:spcBef>
        <a:buFont typeface="Arial" pitchFamily="34" charset="0"/>
        <a:buChar char="•"/>
        <a:defRPr sz="20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045" indent="-214248" algn="l" defTabSz="685595" rtl="0" eaLnBrk="1" latinLnBrk="0" hangingPunct="1">
        <a:spcBef>
          <a:spcPct val="20000"/>
        </a:spcBef>
        <a:buFont typeface="Arial" pitchFamily="34" charset="0"/>
        <a:buChar char="–"/>
        <a:defRPr sz="17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6993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3pPr>
      <a:lvl4pPr marL="1199790" indent="-171398" algn="l" defTabSz="685595" rtl="0" eaLnBrk="1" latinLnBrk="0" hangingPunct="1">
        <a:spcBef>
          <a:spcPct val="20000"/>
        </a:spcBef>
        <a:buFont typeface="Arial" pitchFamily="34" charset="0"/>
        <a:buChar char="–"/>
        <a:defRPr sz="1349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2587" indent="-171398" algn="l" defTabSz="685595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D2D2D2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385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2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547154" y="226264"/>
            <a:ext cx="8044314" cy="745050"/>
          </a:xfrm>
        </p:spPr>
        <p:txBody>
          <a:bodyPr>
            <a:noAutofit/>
          </a:bodyPr>
          <a:lstStyle/>
          <a:p>
            <a:r>
              <a:rPr lang="en-US" altLang="zh-CN" sz="2000" dirty="0"/>
              <a:t>IDC </a:t>
            </a:r>
            <a:r>
              <a:rPr lang="zh-CN" altLang="en-US" sz="2000" dirty="0" smtClean="0"/>
              <a:t>亚太</a:t>
            </a:r>
            <a:r>
              <a:rPr lang="zh-CN" altLang="en-US" sz="2000" dirty="0"/>
              <a:t>区智慧城市</a:t>
            </a:r>
            <a:r>
              <a:rPr lang="zh-CN" altLang="en-US" sz="2000" dirty="0" smtClean="0"/>
              <a:t>大奖</a:t>
            </a:r>
            <a:r>
              <a:rPr lang="en-US" altLang="zh-CN" sz="2000" dirty="0" smtClean="0"/>
              <a:t>SCAPA</a:t>
            </a:r>
            <a:r>
              <a:rPr lang="zh-CN" altLang="en-US" sz="2000" dirty="0" smtClean="0"/>
              <a:t>（</a:t>
            </a:r>
            <a:r>
              <a:rPr lang="en-US" altLang="zh-CN" sz="2000" dirty="0" smtClean="0"/>
              <a:t>2018</a:t>
            </a:r>
            <a:r>
              <a:rPr lang="zh-CN" altLang="en-US" sz="2000" dirty="0" smtClean="0"/>
              <a:t>年），</a:t>
            </a:r>
            <a:r>
              <a:rPr lang="zh-CN" altLang="en-US" dirty="0" smtClean="0">
                <a:solidFill>
                  <a:srgbClr val="FF0000"/>
                </a:solidFill>
              </a:rPr>
              <a:t>中国</a:t>
            </a:r>
            <a:r>
              <a:rPr lang="zh-CN" altLang="en-US" dirty="0">
                <a:solidFill>
                  <a:srgbClr val="FF0000"/>
                </a:solidFill>
              </a:rPr>
              <a:t>山东高青智慧城市项目获得 </a:t>
            </a:r>
            <a:r>
              <a:rPr lang="zh-CN" altLang="en-US" dirty="0" smtClean="0">
                <a:solidFill>
                  <a:srgbClr val="FF0000"/>
                </a:solidFill>
              </a:rPr>
              <a:t>“</a:t>
            </a:r>
            <a:r>
              <a:rPr lang="en-US" altLang="zh-CN" dirty="0" smtClean="0">
                <a:solidFill>
                  <a:srgbClr val="FF0000"/>
                </a:solidFill>
              </a:rPr>
              <a:t>2018</a:t>
            </a:r>
            <a:r>
              <a:rPr lang="zh-CN" altLang="en-US" dirty="0" smtClean="0">
                <a:solidFill>
                  <a:srgbClr val="FF0000"/>
                </a:solidFill>
              </a:rPr>
              <a:t>数字互联普惠奖”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02413" y="4719130"/>
            <a:ext cx="324677" cy="273844"/>
          </a:xfrm>
        </p:spPr>
        <p:txBody>
          <a:bodyPr/>
          <a:lstStyle/>
          <a:p>
            <a:fld id="{C3837181-38C6-AD4F-B8BA-B444770388BB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1372" y="1389634"/>
            <a:ext cx="5689600" cy="296069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76" y="1265464"/>
            <a:ext cx="2367939" cy="320904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3" name="左箭头 12"/>
          <p:cNvSpPr/>
          <p:nvPr/>
        </p:nvSpPr>
        <p:spPr>
          <a:xfrm>
            <a:off x="2815772" y="3336942"/>
            <a:ext cx="355600" cy="268514"/>
          </a:xfrm>
          <a:prstGeom prst="lef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484638" y="3428999"/>
            <a:ext cx="928611" cy="116417"/>
          </a:xfrm>
          <a:prstGeom prst="rect">
            <a:avLst/>
          </a:prstGeom>
          <a:noFill/>
          <a:ln w="12700">
            <a:solidFill>
              <a:srgbClr val="EA0029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985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11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浅色 - CH.pptx" id="{3D04371C-1BE5-4CFE-BB34-5F60C1B596F8}" vid="{01B87725-EA18-4333-BBA3-6918DC2C6E1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HW">
      <a:dk1>
        <a:srgbClr val="CF202F"/>
      </a:dk1>
      <a:lt1>
        <a:srgbClr val="F7991C"/>
      </a:lt1>
      <a:dk2>
        <a:srgbClr val="EC1567"/>
      </a:dk2>
      <a:lt2>
        <a:srgbClr val="AB1C3E"/>
      </a:lt2>
      <a:accent1>
        <a:srgbClr val="63322F"/>
      </a:accent1>
      <a:accent2>
        <a:srgbClr val="FBE109"/>
      </a:accent2>
      <a:accent3>
        <a:srgbClr val="F47F74"/>
      </a:accent3>
      <a:accent4>
        <a:srgbClr val="7BCCBE"/>
      </a:accent4>
      <a:accent5>
        <a:srgbClr val="83C886"/>
      </a:accent5>
      <a:accent6>
        <a:srgbClr val="FFF7DA"/>
      </a:accent6>
      <a:hlink>
        <a:srgbClr val="EBE2DA"/>
      </a:hlink>
      <a:folHlink>
        <a:srgbClr val="F0F8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6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7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ppt/theme/theme8.xml><?xml version="1.0" encoding="utf-8"?>
<a:theme xmlns:a="http://schemas.openxmlformats.org/drawingml/2006/main" name="6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深色 - CH.pptx" id="{37FFB17B-E90A-40D4-9B70-7B481C5D1F24}" vid="{54A82D2D-F239-4C4C-BA8E-3EE758F1A8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395</TotalTime>
  <Words>27</Words>
  <Application>Microsoft Office PowerPoint</Application>
  <PresentationFormat>全屏显示(16:9)</PresentationFormat>
  <Paragraphs>2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3" baseType="lpstr">
      <vt:lpstr>等线</vt:lpstr>
      <vt:lpstr>方正兰亭细黑_GBK</vt:lpstr>
      <vt:lpstr>宋体</vt:lpstr>
      <vt:lpstr>Microsoft YaHei</vt:lpstr>
      <vt:lpstr>Microsoft YaHei</vt:lpstr>
      <vt:lpstr>Arial</vt:lpstr>
      <vt:lpstr>Calibri</vt:lpstr>
      <vt:lpstr>Wingdings</vt:lpstr>
      <vt:lpstr>5_Custom Design</vt:lpstr>
      <vt:lpstr>4_Custom Design</vt:lpstr>
      <vt:lpstr>2_Custom Design</vt:lpstr>
      <vt:lpstr>6_Custom Design</vt:lpstr>
      <vt:lpstr>2_自定义设计方案</vt:lpstr>
      <vt:lpstr>3_自定义设计方案</vt:lpstr>
      <vt:lpstr>4_自定义设计方案</vt:lpstr>
      <vt:lpstr>6_内容Copytext </vt:lpstr>
      <vt:lpstr>1_自定义设计方案</vt:lpstr>
      <vt:lpstr>自定义设计方案</vt:lpstr>
      <vt:lpstr>7_Custom Design</vt:lpstr>
      <vt:lpstr>5_自定义设计方案</vt:lpstr>
      <vt:lpstr>6_自定义设计方案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Xiaying</cp:lastModifiedBy>
  <cp:revision>782</cp:revision>
  <cp:lastPrinted>2019-01-02T01:12:54Z</cp:lastPrinted>
  <dcterms:created xsi:type="dcterms:W3CDTF">2018-06-21T13:34:14Z</dcterms:created>
  <dcterms:modified xsi:type="dcterms:W3CDTF">2019-01-30T06:4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b490O5gVcdEy9RGKKStfQU+adfsUHvIJgv8szYY7Ij3QDI1TIDvJSsWbKgxCFAHqImXfl5d9
Z1ZGpfJTkqyE8YBrkb+eiCHKJ4UmdIKVGfoVWyAw4H8u4DKvzDZFyasCjKxTDmWIm1mNKDMl
/II3D+krtmT27cblz9Y7b9KbrnSH2YY7BvBwbD/4GJ7LajVAfeRwxizAGvLhL9sZwhVv0V3T
ddsmtuNfzNR7P1SmcC</vt:lpwstr>
  </property>
  <property fmtid="{D5CDD505-2E9C-101B-9397-08002B2CF9AE}" pid="3" name="_2015_ms_pID_7253431">
    <vt:lpwstr>7lwbTBZSrZMCVsDN5ZiqXpOpTC61L/zezh9gPmiArRSdd5M6Icltmh
PQi61R5bsQjI+MwV3bgfcrw57PdZO2M68FHgp+psSEGZtcUXFplC49fM3oqk0ltf25XGkFrg
uCPb0Y92T5LxgGLjfMFP9YnIO/f9uYqC/KVj8SBcwbyk3UF8cPz2x61Q9riKoZxbZSihB9lL
oPqnHvz0mwOtLi6Rg453+keJJFd6lY/28gtN</vt:lpwstr>
  </property>
  <property fmtid="{D5CDD505-2E9C-101B-9397-08002B2CF9AE}" pid="4" name="_2015_ms_pID_7253432">
    <vt:lpwstr>eg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47100363</vt:lpwstr>
  </property>
</Properties>
</file>